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737" r:id="rId1"/>
  </p:sldMasterIdLst>
  <p:notesMasterIdLst>
    <p:notesMasterId r:id="rId8"/>
  </p:notesMasterIdLst>
  <p:sldIdLst>
    <p:sldId id="256" r:id="rId2"/>
    <p:sldId id="258" r:id="rId3"/>
    <p:sldId id="372" r:id="rId4"/>
    <p:sldId id="356" r:id="rId5"/>
    <p:sldId id="373" r:id="rId6"/>
    <p:sldId id="374" r:id="rId7"/>
  </p:sldIdLst>
  <p:sldSz cx="9144000" cy="5143500" type="screen16x9"/>
  <p:notesSz cx="6858000" cy="9144000"/>
  <p:embeddedFontLst>
    <p:embeddedFont>
      <p:font typeface="Roboto Condensed" panose="02000000000000000000" pitchFamily="2" charset="0"/>
      <p:regular r:id="rId9"/>
      <p:bold r:id="rId10"/>
      <p:italic r:id="rId11"/>
      <p:boldItalic r:id="rId12"/>
    </p:embeddedFont>
    <p:embeddedFont>
      <p:font typeface="Roboto Condensed Light" panose="02000000000000000000" pitchFamily="2" charset="0"/>
      <p:regular r:id="rId13"/>
      <p:bold r:id="rId14"/>
      <p:italic r:id="rId15"/>
      <p:boldItalic r:id="rId16"/>
    </p:embeddedFont>
    <p:embeddedFont>
      <p:font typeface="Squada One" panose="020B0604020202020204" charset="0"/>
      <p:regular r:id="rId1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70CABB0-B3E8-40F0-8A64-7278FD031FF0}">
  <a:tblStyle styleId="{F70CABB0-B3E8-40F0-8A64-7278FD031FF0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816" y="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68044753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Google Shape;762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63" name="Google Shape;763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78539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2">
          <a:extLst>
            <a:ext uri="{FF2B5EF4-FFF2-40B4-BE49-F238E27FC236}">
              <a16:creationId xmlns:a16="http://schemas.microsoft.com/office/drawing/2014/main" id="{DA33D2FF-7727-138D-F315-3AB169657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ga39e485748_0_50:notes">
            <a:extLst>
              <a:ext uri="{FF2B5EF4-FFF2-40B4-BE49-F238E27FC236}">
                <a16:creationId xmlns:a16="http://schemas.microsoft.com/office/drawing/2014/main" id="{F5F959E0-CB20-D6C8-0F25-2337BB22EC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4" name="Google Shape;884;ga39e485748_0_50:notes">
            <a:extLst>
              <a:ext uri="{FF2B5EF4-FFF2-40B4-BE49-F238E27FC236}">
                <a16:creationId xmlns:a16="http://schemas.microsoft.com/office/drawing/2014/main" id="{0C12F2FD-BAA5-CF8B-873D-0594668EEE0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50767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5400012" scaled="0"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1" name="Google Shape;11;p2"/>
          <p:cNvSpPr txBox="1"/>
          <p:nvPr/>
        </p:nvSpPr>
        <p:spPr>
          <a:xfrm flipH="1">
            <a:off x="1375550" y="3092475"/>
            <a:ext cx="6393000" cy="6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6000">
              <a:solidFill>
                <a:srgbClr val="FFFFFF"/>
              </a:solidFill>
              <a:latin typeface="Squada One"/>
              <a:ea typeface="Squada One"/>
              <a:cs typeface="Squada One"/>
              <a:sym typeface="Squada One"/>
            </a:endParaRPr>
          </a:p>
        </p:txBody>
      </p:sp>
      <p:pic>
        <p:nvPicPr>
          <p:cNvPr id="12" name="Google Shape;12;p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3" y="-399756"/>
            <a:ext cx="9144000" cy="43693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2"/>
          <p:cNvSpPr txBox="1">
            <a:spLocks noGrp="1"/>
          </p:cNvSpPr>
          <p:nvPr>
            <p:ph type="title"/>
          </p:nvPr>
        </p:nvSpPr>
        <p:spPr>
          <a:xfrm>
            <a:off x="457200" y="2932650"/>
            <a:ext cx="8229600" cy="51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Font typeface="Squada One"/>
              <a:buNone/>
              <a:defRPr sz="3000">
                <a:latin typeface="Squada One"/>
                <a:ea typeface="Squada One"/>
                <a:cs typeface="Squada One"/>
                <a:sym typeface="Squada One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ubTitle" idx="1"/>
          </p:nvPr>
        </p:nvSpPr>
        <p:spPr>
          <a:xfrm>
            <a:off x="457275" y="3192525"/>
            <a:ext cx="8229600" cy="41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CUSTOM_43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4"/>
          <p:cNvSpPr txBox="1">
            <a:spLocks noGrp="1"/>
          </p:cNvSpPr>
          <p:nvPr>
            <p:ph type="ctrTitle"/>
          </p:nvPr>
        </p:nvSpPr>
        <p:spPr>
          <a:xfrm>
            <a:off x="457200" y="517918"/>
            <a:ext cx="8229600" cy="67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67" name="Google Shape;167;p24"/>
          <p:cNvSpPr txBox="1">
            <a:spLocks noGrp="1"/>
          </p:cNvSpPr>
          <p:nvPr>
            <p:ph type="ctrTitle" idx="2"/>
          </p:nvPr>
        </p:nvSpPr>
        <p:spPr>
          <a:xfrm>
            <a:off x="2750155" y="1492066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16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" name="Google Shape;168;p24"/>
          <p:cNvSpPr txBox="1">
            <a:spLocks noGrp="1"/>
          </p:cNvSpPr>
          <p:nvPr>
            <p:ph type="subTitle" idx="1"/>
          </p:nvPr>
        </p:nvSpPr>
        <p:spPr>
          <a:xfrm>
            <a:off x="2750119" y="2192634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69" name="Google Shape;169;p24"/>
          <p:cNvSpPr txBox="1">
            <a:spLocks noGrp="1"/>
          </p:cNvSpPr>
          <p:nvPr>
            <p:ph type="ctrTitle" idx="3"/>
          </p:nvPr>
        </p:nvSpPr>
        <p:spPr>
          <a:xfrm>
            <a:off x="4800201" y="1497325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16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" name="Google Shape;170;p24"/>
          <p:cNvSpPr txBox="1">
            <a:spLocks noGrp="1"/>
          </p:cNvSpPr>
          <p:nvPr>
            <p:ph type="subTitle" idx="4"/>
          </p:nvPr>
        </p:nvSpPr>
        <p:spPr>
          <a:xfrm>
            <a:off x="4800165" y="2192634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71" name="Google Shape;171;p24"/>
          <p:cNvSpPr txBox="1">
            <a:spLocks noGrp="1"/>
          </p:cNvSpPr>
          <p:nvPr>
            <p:ph type="ctrTitle" idx="5"/>
          </p:nvPr>
        </p:nvSpPr>
        <p:spPr>
          <a:xfrm>
            <a:off x="3794948" y="3219050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None/>
              <a:defRPr sz="16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24"/>
          <p:cNvSpPr txBox="1">
            <a:spLocks noGrp="1"/>
          </p:cNvSpPr>
          <p:nvPr>
            <p:ph type="subTitle" idx="6"/>
          </p:nvPr>
        </p:nvSpPr>
        <p:spPr>
          <a:xfrm>
            <a:off x="3753025" y="3910976"/>
            <a:ext cx="16539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pic>
        <p:nvPicPr>
          <p:cNvPr id="173" name="Google Shape;173;p2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flipH="1">
            <a:off x="6843225" y="0"/>
            <a:ext cx="2300675" cy="2075900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24"/>
          <p:cNvSpPr/>
          <p:nvPr/>
        </p:nvSpPr>
        <p:spPr>
          <a:xfrm rot="5400000">
            <a:off x="2534502" y="1090938"/>
            <a:ext cx="2001410" cy="1795550"/>
          </a:xfrm>
          <a:prstGeom prst="flowChartPreparation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5" name="Google Shape;175;p24"/>
          <p:cNvSpPr/>
          <p:nvPr/>
        </p:nvSpPr>
        <p:spPr>
          <a:xfrm rot="5400000">
            <a:off x="3566117" y="2781995"/>
            <a:ext cx="2001410" cy="1795550"/>
          </a:xfrm>
          <a:prstGeom prst="flowChartPreparation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6" name="Google Shape;176;p24"/>
          <p:cNvSpPr/>
          <p:nvPr/>
        </p:nvSpPr>
        <p:spPr>
          <a:xfrm rot="5400000">
            <a:off x="4584549" y="1090938"/>
            <a:ext cx="2001410" cy="1795550"/>
          </a:xfrm>
          <a:prstGeom prst="flowChartPreparation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77" name="Google Shape;177;p2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 flipH="1">
            <a:off x="-262630" y="2659235"/>
            <a:ext cx="2928524" cy="26423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31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5"/>
          <p:cNvSpPr txBox="1">
            <a:spLocks noGrp="1"/>
          </p:cNvSpPr>
          <p:nvPr>
            <p:ph type="ctrTitle"/>
          </p:nvPr>
        </p:nvSpPr>
        <p:spPr>
          <a:xfrm>
            <a:off x="457200" y="517918"/>
            <a:ext cx="8229600" cy="67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80" name="Google Shape;180;p25"/>
          <p:cNvSpPr txBox="1">
            <a:spLocks noGrp="1"/>
          </p:cNvSpPr>
          <p:nvPr>
            <p:ph type="ctrTitle" idx="2"/>
          </p:nvPr>
        </p:nvSpPr>
        <p:spPr>
          <a:xfrm>
            <a:off x="3716190" y="2062575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1" name="Google Shape;181;p25"/>
          <p:cNvSpPr txBox="1">
            <a:spLocks noGrp="1"/>
          </p:cNvSpPr>
          <p:nvPr>
            <p:ph type="subTitle" idx="1"/>
          </p:nvPr>
        </p:nvSpPr>
        <p:spPr>
          <a:xfrm>
            <a:off x="3716190" y="2765019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25"/>
          <p:cNvSpPr txBox="1">
            <a:spLocks noGrp="1"/>
          </p:cNvSpPr>
          <p:nvPr>
            <p:ph type="ctrTitle" idx="3"/>
          </p:nvPr>
        </p:nvSpPr>
        <p:spPr>
          <a:xfrm>
            <a:off x="5910940" y="2066326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" name="Google Shape;183;p25"/>
          <p:cNvSpPr txBox="1">
            <a:spLocks noGrp="1"/>
          </p:cNvSpPr>
          <p:nvPr>
            <p:ph type="subTitle" idx="4"/>
          </p:nvPr>
        </p:nvSpPr>
        <p:spPr>
          <a:xfrm>
            <a:off x="5910940" y="2866007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5"/>
          <p:cNvSpPr txBox="1">
            <a:spLocks noGrp="1"/>
          </p:cNvSpPr>
          <p:nvPr>
            <p:ph type="ctrTitle" idx="5"/>
          </p:nvPr>
        </p:nvSpPr>
        <p:spPr>
          <a:xfrm>
            <a:off x="1521440" y="2062585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" name="Google Shape;185;p25"/>
          <p:cNvSpPr txBox="1">
            <a:spLocks noGrp="1"/>
          </p:cNvSpPr>
          <p:nvPr>
            <p:ph type="subTitle" idx="6"/>
          </p:nvPr>
        </p:nvSpPr>
        <p:spPr>
          <a:xfrm>
            <a:off x="1479590" y="2765029"/>
            <a:ext cx="16539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6" name="Google Shape;186;p2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flipH="1">
            <a:off x="3138825" y="3806025"/>
            <a:ext cx="2957125" cy="26681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7" name="Google Shape;187;p2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flipH="1">
            <a:off x="-339551" y="-408250"/>
            <a:ext cx="2494901" cy="22511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8" name="Google Shape;188;p2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flipH="1">
            <a:off x="6944449" y="-571400"/>
            <a:ext cx="2494901" cy="2251126"/>
          </a:xfrm>
          <a:prstGeom prst="rect">
            <a:avLst/>
          </a:prstGeom>
          <a:noFill/>
          <a:ln>
            <a:noFill/>
          </a:ln>
        </p:spPr>
      </p:pic>
      <p:sp>
        <p:nvSpPr>
          <p:cNvPr id="189" name="Google Shape;189;p25"/>
          <p:cNvSpPr/>
          <p:nvPr/>
        </p:nvSpPr>
        <p:spPr>
          <a:xfrm>
            <a:off x="5653690" y="1619951"/>
            <a:ext cx="2084700" cy="19086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0" name="Google Shape;190;p25"/>
          <p:cNvSpPr/>
          <p:nvPr/>
        </p:nvSpPr>
        <p:spPr>
          <a:xfrm>
            <a:off x="5843140" y="1793451"/>
            <a:ext cx="1705800" cy="15615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1" name="Google Shape;191;p25"/>
          <p:cNvSpPr/>
          <p:nvPr/>
        </p:nvSpPr>
        <p:spPr>
          <a:xfrm>
            <a:off x="3458940" y="1619951"/>
            <a:ext cx="2084700" cy="19086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2" name="Google Shape;192;p25"/>
          <p:cNvSpPr/>
          <p:nvPr/>
        </p:nvSpPr>
        <p:spPr>
          <a:xfrm>
            <a:off x="3648390" y="1793451"/>
            <a:ext cx="1705800" cy="15615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3" name="Google Shape;193;p25"/>
          <p:cNvSpPr/>
          <p:nvPr/>
        </p:nvSpPr>
        <p:spPr>
          <a:xfrm>
            <a:off x="1264190" y="1619951"/>
            <a:ext cx="2084700" cy="19086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4" name="Google Shape;194;p25"/>
          <p:cNvSpPr/>
          <p:nvPr/>
        </p:nvSpPr>
        <p:spPr>
          <a:xfrm>
            <a:off x="1453700" y="1793451"/>
            <a:ext cx="1705800" cy="15615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39215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7">
  <p:cSld name="CUSTOM_25"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3" name="Google Shape;463;p5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551926" y="-847134"/>
            <a:ext cx="3136825" cy="2830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4" name="Google Shape;464;p5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flipH="1">
            <a:off x="6559554" y="-846583"/>
            <a:ext cx="3136825" cy="2830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5" name="Google Shape;465;p5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 flipH="1">
            <a:off x="-552472" y="2791087"/>
            <a:ext cx="3136825" cy="2830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" name="Google Shape;466;p5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>
            <a:off x="6549518" y="2790536"/>
            <a:ext cx="3136825" cy="2830350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p50"/>
          <p:cNvSpPr txBox="1">
            <a:spLocks noGrp="1"/>
          </p:cNvSpPr>
          <p:nvPr>
            <p:ph type="ctrTitle"/>
          </p:nvPr>
        </p:nvSpPr>
        <p:spPr>
          <a:xfrm flipH="1">
            <a:off x="540000" y="452237"/>
            <a:ext cx="8064000" cy="670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41"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2" name="Google Shape;562;p6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>
            <a:off x="6843313" y="-9498"/>
            <a:ext cx="2300675" cy="2075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3" name="Google Shape;563;p6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 flipH="1">
            <a:off x="-12" y="-9498"/>
            <a:ext cx="2300675" cy="2075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CUSTOM_41_1">
    <p:spTree>
      <p:nvGrpSpPr>
        <p:cNvPr id="1" name="Shape 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5" name="Google Shape;565;p6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>
            <a:off x="7247964" y="3135292"/>
            <a:ext cx="2300675" cy="2075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6" name="Google Shape;566;p6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 rot="10800000" flipH="1">
            <a:off x="-984228" y="3055367"/>
            <a:ext cx="2300675" cy="2075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B3E033F-4449-40FA-BC85-BD2712D313DD}"/>
              </a:ext>
            </a:extLst>
          </p:cNvPr>
          <p:cNvSpPr/>
          <p:nvPr userDrawn="1"/>
        </p:nvSpPr>
        <p:spPr>
          <a:xfrm>
            <a:off x="0" y="1"/>
            <a:ext cx="9144000" cy="516314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3D26743-0505-444C-80B3-E88EE87DF72B}"/>
              </a:ext>
            </a:extLst>
          </p:cNvPr>
          <p:cNvSpPr/>
          <p:nvPr userDrawn="1"/>
        </p:nvSpPr>
        <p:spPr>
          <a:xfrm>
            <a:off x="0" y="1"/>
            <a:ext cx="9144001" cy="5163143"/>
          </a:xfrm>
          <a:custGeom>
            <a:avLst/>
            <a:gdLst>
              <a:gd name="connsiteX0" fmla="*/ 0 w 12192001"/>
              <a:gd name="connsiteY0" fmla="*/ 0 h 6884191"/>
              <a:gd name="connsiteX1" fmla="*/ 7540222 w 12192001"/>
              <a:gd name="connsiteY1" fmla="*/ 0 h 6884191"/>
              <a:gd name="connsiteX2" fmla="*/ 10260629 w 12192001"/>
              <a:gd name="connsiteY2" fmla="*/ 2725573 h 6884191"/>
              <a:gd name="connsiteX3" fmla="*/ 11286710 w 12192001"/>
              <a:gd name="connsiteY3" fmla="*/ 2725573 h 6884191"/>
              <a:gd name="connsiteX4" fmla="*/ 12192000 w 12192001"/>
              <a:gd name="connsiteY4" fmla="*/ 3632581 h 6884191"/>
              <a:gd name="connsiteX5" fmla="*/ 12192001 w 12192001"/>
              <a:gd name="connsiteY5" fmla="*/ 6884191 h 6884191"/>
              <a:gd name="connsiteX6" fmla="*/ 0 w 12192001"/>
              <a:gd name="connsiteY6" fmla="*/ 6884191 h 688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6884191">
                <a:moveTo>
                  <a:pt x="0" y="0"/>
                </a:moveTo>
                <a:lnTo>
                  <a:pt x="7540222" y="0"/>
                </a:lnTo>
                <a:lnTo>
                  <a:pt x="10260629" y="2725573"/>
                </a:lnTo>
                <a:lnTo>
                  <a:pt x="11286710" y="2725573"/>
                </a:lnTo>
                <a:lnTo>
                  <a:pt x="12192000" y="3632581"/>
                </a:lnTo>
                <a:lnTo>
                  <a:pt x="12192001" y="6884191"/>
                </a:lnTo>
                <a:lnTo>
                  <a:pt x="0" y="6884191"/>
                </a:lnTo>
                <a:close/>
              </a:path>
            </a:pathLst>
          </a:custGeom>
          <a:solidFill>
            <a:schemeClr val="accent2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99AF7E-3E34-4597-AA72-9373A7FDB020}"/>
              </a:ext>
            </a:extLst>
          </p:cNvPr>
          <p:cNvSpPr/>
          <p:nvPr userDrawn="1"/>
        </p:nvSpPr>
        <p:spPr>
          <a:xfrm rot="16200000" flipV="1">
            <a:off x="1998471" y="-1998470"/>
            <a:ext cx="5147058" cy="9144000"/>
          </a:xfrm>
          <a:custGeom>
            <a:avLst/>
            <a:gdLst>
              <a:gd name="connsiteX0" fmla="*/ 6849744 w 6849744"/>
              <a:gd name="connsiteY0" fmla="*/ 12192000 h 12192000"/>
              <a:gd name="connsiteX1" fmla="*/ 6849744 w 6849744"/>
              <a:gd name="connsiteY1" fmla="*/ 5840584 h 12192000"/>
              <a:gd name="connsiteX2" fmla="*/ 4137803 w 6849744"/>
              <a:gd name="connsiteY2" fmla="*/ 5840584 h 12192000"/>
              <a:gd name="connsiteX3" fmla="*/ 4137803 w 6849744"/>
              <a:gd name="connsiteY3" fmla="*/ 5840583 h 12192000"/>
              <a:gd name="connsiteX4" fmla="*/ 6849744 w 6849744"/>
              <a:gd name="connsiteY4" fmla="*/ 5840583 h 12192000"/>
              <a:gd name="connsiteX5" fmla="*/ 4137803 w 6849744"/>
              <a:gd name="connsiteY5" fmla="*/ 3119513 h 12192000"/>
              <a:gd name="connsiteX6" fmla="*/ 4137803 w 6849744"/>
              <a:gd name="connsiteY6" fmla="*/ 1967559 h 12192000"/>
              <a:gd name="connsiteX7" fmla="*/ 2170243 w 6849744"/>
              <a:gd name="connsiteY7" fmla="*/ 0 h 12192000"/>
              <a:gd name="connsiteX8" fmla="*/ 0 w 6849744"/>
              <a:gd name="connsiteY8" fmla="*/ 0 h 12192000"/>
              <a:gd name="connsiteX9" fmla="*/ 0 w 6849744"/>
              <a:gd name="connsiteY9" fmla="*/ 1219200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49744" h="12192000">
                <a:moveTo>
                  <a:pt x="6849744" y="12192000"/>
                </a:moveTo>
                <a:lnTo>
                  <a:pt x="6849744" y="5840584"/>
                </a:lnTo>
                <a:lnTo>
                  <a:pt x="4137803" y="5840584"/>
                </a:lnTo>
                <a:lnTo>
                  <a:pt x="4137803" y="5840583"/>
                </a:lnTo>
                <a:lnTo>
                  <a:pt x="6849744" y="5840583"/>
                </a:lnTo>
                <a:lnTo>
                  <a:pt x="4137803" y="3119513"/>
                </a:lnTo>
                <a:lnTo>
                  <a:pt x="4137803" y="1967559"/>
                </a:lnTo>
                <a:lnTo>
                  <a:pt x="2170243" y="0"/>
                </a:lnTo>
                <a:lnTo>
                  <a:pt x="0" y="0"/>
                </a:lnTo>
                <a:lnTo>
                  <a:pt x="0" y="12192000"/>
                </a:lnTo>
                <a:close/>
              </a:path>
            </a:pathLst>
          </a:custGeom>
          <a:solidFill>
            <a:schemeClr val="accent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2DF563-7FAC-46B3-B24C-7E45CD89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407194"/>
            <a:ext cx="8410575" cy="461665"/>
          </a:xfr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 lang="en-GB" sz="2400" b="1" spc="-53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B51822-97FF-47A7-8E4E-A0F79B4EB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39150" y="4736307"/>
            <a:ext cx="304800" cy="273844"/>
          </a:xfrm>
        </p:spPr>
        <p:txBody>
          <a:bodyPr/>
          <a:lstStyle>
            <a:lvl1pPr>
              <a:defRPr sz="750">
                <a:solidFill>
                  <a:schemeClr val="bg1"/>
                </a:solidFill>
                <a:latin typeface="Trade Gothic LT Pro" panose="020B0503040303020004" pitchFamily="34" charset="0"/>
              </a:defRPr>
            </a:lvl1pPr>
          </a:lstStyle>
          <a:p>
            <a:fld id="{C263D6C4-4840-40CC-AC84-17E24B3B7BD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732E1E7-45E3-4264-8F26-66758696DD1E}"/>
              </a:ext>
            </a:extLst>
          </p:cNvPr>
          <p:cNvGrpSpPr/>
          <p:nvPr userDrawn="1"/>
        </p:nvGrpSpPr>
        <p:grpSpPr>
          <a:xfrm rot="16200000">
            <a:off x="374542" y="-241991"/>
            <a:ext cx="401648" cy="483982"/>
            <a:chOff x="10945855" y="7317026"/>
            <a:chExt cx="2483924" cy="2993104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E3DF883-8093-49FA-81E1-E5D77F086A25}"/>
                </a:ext>
              </a:extLst>
            </p:cNvPr>
            <p:cNvSpPr/>
            <p:nvPr/>
          </p:nvSpPr>
          <p:spPr>
            <a:xfrm rot="2700000">
              <a:off x="10945855" y="7826207"/>
              <a:ext cx="2483923" cy="2483924"/>
            </a:xfrm>
            <a:custGeom>
              <a:avLst/>
              <a:gdLst>
                <a:gd name="connsiteX0" fmla="*/ 754341 w 754341"/>
                <a:gd name="connsiteY0" fmla="*/ 754341 h 754341"/>
                <a:gd name="connsiteX1" fmla="*/ 0 w 754341"/>
                <a:gd name="connsiteY1" fmla="*/ 754341 h 754341"/>
                <a:gd name="connsiteX2" fmla="*/ 0 w 754341"/>
                <a:gd name="connsiteY2" fmla="*/ 0 h 7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4341" h="754341">
                  <a:moveTo>
                    <a:pt x="754341" y="754341"/>
                  </a:moveTo>
                  <a:lnTo>
                    <a:pt x="0" y="7543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noProof="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944C90-37E5-4BBE-89FF-060627168050}"/>
                </a:ext>
              </a:extLst>
            </p:cNvPr>
            <p:cNvSpPr/>
            <p:nvPr/>
          </p:nvSpPr>
          <p:spPr>
            <a:xfrm rot="8100000" flipH="1">
              <a:off x="10986797" y="7317026"/>
              <a:ext cx="2402031" cy="2402032"/>
            </a:xfrm>
            <a:custGeom>
              <a:avLst/>
              <a:gdLst>
                <a:gd name="connsiteX0" fmla="*/ 754341 w 754341"/>
                <a:gd name="connsiteY0" fmla="*/ 754341 h 754341"/>
                <a:gd name="connsiteX1" fmla="*/ 0 w 754341"/>
                <a:gd name="connsiteY1" fmla="*/ 754341 h 754341"/>
                <a:gd name="connsiteX2" fmla="*/ 0 w 754341"/>
                <a:gd name="connsiteY2" fmla="*/ 0 h 754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4341" h="754341">
                  <a:moveTo>
                    <a:pt x="754341" y="754341"/>
                  </a:moveTo>
                  <a:lnTo>
                    <a:pt x="0" y="754341"/>
                  </a:lnTo>
                  <a:lnTo>
                    <a:pt x="0" y="0"/>
                  </a:lnTo>
                  <a:close/>
                </a:path>
              </a:pathLst>
            </a:custGeom>
            <a:pattFill prst="dkHorz">
              <a:fgClr>
                <a:schemeClr val="accent1">
                  <a:lumMod val="60000"/>
                  <a:lumOff val="40000"/>
                </a:schemeClr>
              </a:fgClr>
              <a:bgClr>
                <a:schemeClr val="accent2">
                  <a:lumMod val="50000"/>
                </a:schemeClr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noProof="0" dirty="0"/>
            </a:p>
          </p:txBody>
        </p:sp>
      </p:grp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3618670-D1E4-466C-BDB5-FC890AC314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75" y="1219039"/>
            <a:ext cx="5038725" cy="306993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50"/>
              </a:spcBef>
              <a:spcAft>
                <a:spcPts val="300"/>
              </a:spcAft>
              <a:defRPr sz="12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450"/>
              </a:spcBef>
              <a:spcAft>
                <a:spcPts val="300"/>
              </a:spcAft>
              <a:defRPr sz="105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50"/>
              </a:spcBef>
              <a:spcAft>
                <a:spcPts val="300"/>
              </a:spcAft>
              <a:defRPr sz="9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01764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5400012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D259F09-D74D-777C-C8CF-42FD7B145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1344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78" imgH="379" progId="TCLayout.ActiveDocument.1">
                  <p:embed/>
                </p:oleObj>
              </mc:Choice>
              <mc:Fallback>
                <p:oleObj name="think-cell Slide" r:id="rId10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445025"/>
            <a:ext cx="8229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Squada One"/>
              <a:buNone/>
              <a:defRPr sz="3000">
                <a:solidFill>
                  <a:schemeClr val="lt1"/>
                </a:solidFill>
                <a:latin typeface="Squada One"/>
                <a:ea typeface="Squada One"/>
                <a:cs typeface="Squada One"/>
                <a:sym typeface="Squada One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 sz="2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152475"/>
            <a:ext cx="8229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Condensed Light"/>
              <a:buChar char="●"/>
              <a:defRPr sz="18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○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■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●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○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■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●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Char char="○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Roboto Condensed Light"/>
              <a:buChar char="■"/>
              <a:defRPr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70" r:id="rId2"/>
    <p:sldLayoutId id="2147483671" r:id="rId3"/>
    <p:sldLayoutId id="2147483696" r:id="rId4"/>
    <p:sldLayoutId id="2147483709" r:id="rId5"/>
    <p:sldLayoutId id="2147483710" r:id="rId6"/>
    <p:sldLayoutId id="2147483738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D2C131E-F1FF-627B-2DE9-D7BC7FA6D2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60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5" name="Google Shape;765;p94"/>
          <p:cNvSpPr txBox="1">
            <a:spLocks noGrp="1"/>
          </p:cNvSpPr>
          <p:nvPr>
            <p:ph type="title"/>
          </p:nvPr>
        </p:nvSpPr>
        <p:spPr>
          <a:xfrm>
            <a:off x="457275" y="2420139"/>
            <a:ext cx="8229600" cy="51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/>
              <a:t>AI Powered Career Advisor</a:t>
            </a:r>
            <a:endParaRPr dirty="0"/>
          </a:p>
        </p:txBody>
      </p:sp>
      <p:sp>
        <p:nvSpPr>
          <p:cNvPr id="6" name="Google Shape;766;p94"/>
          <p:cNvSpPr txBox="1">
            <a:spLocks/>
          </p:cNvSpPr>
          <p:nvPr/>
        </p:nvSpPr>
        <p:spPr>
          <a:xfrm>
            <a:off x="457275" y="3697389"/>
            <a:ext cx="8229600" cy="1446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Roboto Condensed Light"/>
              <a:buNone/>
              <a:defRPr sz="16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Font typeface="Roboto Condensed Light"/>
              <a:buNone/>
              <a:defRPr sz="1400" b="0" i="0" u="none" strike="noStrike" cap="none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b="1" dirty="0"/>
              <a:t>Presented by:</a:t>
            </a:r>
          </a:p>
          <a:p>
            <a:pPr marL="0" indent="0"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/>
              <a:t>Ali Alaaeddine</a:t>
            </a:r>
          </a:p>
          <a:p>
            <a:pPr marL="0" indent="0"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/>
              <a:t>Hadi Elham</a:t>
            </a:r>
          </a:p>
          <a:p>
            <a:pPr marL="0" indent="0"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/>
              <a:t>Zakaria </a:t>
            </a:r>
            <a:r>
              <a:rPr lang="en-US" sz="1200" dirty="0" err="1"/>
              <a:t>Labban</a:t>
            </a:r>
            <a:endParaRPr lang="en-US" sz="1200" dirty="0"/>
          </a:p>
          <a:p>
            <a:pPr marL="0" indent="0"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/>
              <a:t>Mahmoud Ch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6000">
        <p15:prstTrans prst="curtains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461ED6E-FC24-4337-CF4A-5BA4DFFB96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04632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61ED6E-FC24-4337-CF4A-5BA4DFFB9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875C19A-1AAE-476A-A316-A2CF92D76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AI-Powered Career Adviso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F2BC084-E6DB-4DE7-B309-042A85EBA7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376" y="1219039"/>
            <a:ext cx="3798743" cy="3069932"/>
          </a:xfrm>
        </p:spPr>
        <p:txBody>
          <a:bodyPr/>
          <a:lstStyle/>
          <a:p>
            <a:r>
              <a:rPr lang="en-US" sz="1500" dirty="0"/>
              <a:t>The AI-Powered Career Advisor is a system designed to assist individuals in navigating their career paths by analyzing their skills, education, and experiences to provide personalized recommendations using artificial intelligence.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9800F6-D571-48C4-8466-12AA1ADB6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3D6C4-4840-40CC-AC84-17E24B3B7B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6" name="Picture 15" descr="A person sitting at a desk with a robot">
            <a:extLst>
              <a:ext uri="{FF2B5EF4-FFF2-40B4-BE49-F238E27FC236}">
                <a16:creationId xmlns:a16="http://schemas.microsoft.com/office/drawing/2014/main" id="{84BE7210-128B-5037-FAD9-E4BEF0C0AA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6919" y="904009"/>
            <a:ext cx="4002232" cy="383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4860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4000">
        <p14:vortex dir="r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5">
          <a:extLst>
            <a:ext uri="{FF2B5EF4-FFF2-40B4-BE49-F238E27FC236}">
              <a16:creationId xmlns:a16="http://schemas.microsoft.com/office/drawing/2014/main" id="{A7B7B4BF-789E-8180-2678-1FD5E9DAE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358CC0D-7955-904D-2E58-2F8DDE712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228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58CC0D-7955-904D-2E58-2F8DDE712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8" name="Google Shape;898;p108">
            <a:extLst>
              <a:ext uri="{FF2B5EF4-FFF2-40B4-BE49-F238E27FC236}">
                <a16:creationId xmlns:a16="http://schemas.microsoft.com/office/drawing/2014/main" id="{270F672A-48FF-D830-90BA-377FE1642593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750119" y="1939029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dirty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  <a:cs typeface="Times New Roman" panose="02020603050405020304" pitchFamily="18" charset="0"/>
              </a:rPr>
              <a:t>Responsible for jobs</a:t>
            </a:r>
          </a:p>
        </p:txBody>
      </p:sp>
      <p:sp>
        <p:nvSpPr>
          <p:cNvPr id="899" name="Google Shape;899;p108">
            <a:extLst>
              <a:ext uri="{FF2B5EF4-FFF2-40B4-BE49-F238E27FC236}">
                <a16:creationId xmlns:a16="http://schemas.microsoft.com/office/drawing/2014/main" id="{130CE302-1D60-45BE-06B8-111240DB6E25}"/>
              </a:ext>
            </a:extLst>
          </p:cNvPr>
          <p:cNvSpPr txBox="1">
            <a:spLocks noGrp="1"/>
          </p:cNvSpPr>
          <p:nvPr>
            <p:ph type="ctrTitle" idx="2"/>
          </p:nvPr>
        </p:nvSpPr>
        <p:spPr>
          <a:xfrm>
            <a:off x="2750119" y="1153924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/>
              <a:t>Adzuna</a:t>
            </a:r>
            <a:endParaRPr dirty="0"/>
          </a:p>
        </p:txBody>
      </p:sp>
      <p:sp>
        <p:nvSpPr>
          <p:cNvPr id="900" name="Google Shape;900;p108">
            <a:extLst>
              <a:ext uri="{FF2B5EF4-FFF2-40B4-BE49-F238E27FC236}">
                <a16:creationId xmlns:a16="http://schemas.microsoft.com/office/drawing/2014/main" id="{A10C4BA3-EF72-6AEA-2A5D-05B8C7B2433F}"/>
              </a:ext>
            </a:extLst>
          </p:cNvPr>
          <p:cNvSpPr txBox="1">
            <a:spLocks noGrp="1"/>
          </p:cNvSpPr>
          <p:nvPr>
            <p:ph type="ctrTitle" idx="3"/>
          </p:nvPr>
        </p:nvSpPr>
        <p:spPr>
          <a:xfrm>
            <a:off x="4823683" y="1133946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-US" dirty="0"/>
              <a:t>Coursera</a:t>
            </a:r>
            <a:endParaRPr dirty="0"/>
          </a:p>
        </p:txBody>
      </p:sp>
      <p:sp>
        <p:nvSpPr>
          <p:cNvPr id="901" name="Google Shape;901;p108">
            <a:extLst>
              <a:ext uri="{FF2B5EF4-FFF2-40B4-BE49-F238E27FC236}">
                <a16:creationId xmlns:a16="http://schemas.microsoft.com/office/drawing/2014/main" id="{D58F4049-5ADE-E452-8579-D1E3CC9C9CBD}"/>
              </a:ext>
            </a:extLst>
          </p:cNvPr>
          <p:cNvSpPr txBox="1">
            <a:spLocks noGrp="1"/>
          </p:cNvSpPr>
          <p:nvPr>
            <p:ph type="subTitle" idx="4"/>
          </p:nvPr>
        </p:nvSpPr>
        <p:spPr>
          <a:xfrm>
            <a:off x="4823683" y="1985051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>
              <a:buClr>
                <a:schemeClr val="dk1"/>
              </a:buClr>
              <a:buSzPts val="1100"/>
            </a:pPr>
            <a:r>
              <a:rPr lang="en-US" altLang="en-US" dirty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  <a:cs typeface="Times New Roman" panose="02020603050405020304" pitchFamily="18" charset="0"/>
              </a:rPr>
              <a:t>Responsible for  courses</a:t>
            </a:r>
          </a:p>
        </p:txBody>
      </p:sp>
      <p:sp>
        <p:nvSpPr>
          <p:cNvPr id="902" name="Google Shape;902;p108">
            <a:extLst>
              <a:ext uri="{FF2B5EF4-FFF2-40B4-BE49-F238E27FC236}">
                <a16:creationId xmlns:a16="http://schemas.microsoft.com/office/drawing/2014/main" id="{4EA18A1B-6D44-3EBC-7BFD-2FE12AA9CA90}"/>
              </a:ext>
            </a:extLst>
          </p:cNvPr>
          <p:cNvSpPr txBox="1">
            <a:spLocks noGrp="1"/>
          </p:cNvSpPr>
          <p:nvPr>
            <p:ph type="ctrTitle" idx="5"/>
          </p:nvPr>
        </p:nvSpPr>
        <p:spPr>
          <a:xfrm>
            <a:off x="3786900" y="2775054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/>
              <a:t>GitHub</a:t>
            </a:r>
            <a:endParaRPr dirty="0"/>
          </a:p>
        </p:txBody>
      </p:sp>
      <p:sp>
        <p:nvSpPr>
          <p:cNvPr id="903" name="Google Shape;903;p108">
            <a:extLst>
              <a:ext uri="{FF2B5EF4-FFF2-40B4-BE49-F238E27FC236}">
                <a16:creationId xmlns:a16="http://schemas.microsoft.com/office/drawing/2014/main" id="{8D5E7E73-1A8F-7458-7188-6774C479CCB6}"/>
              </a:ext>
            </a:extLst>
          </p:cNvPr>
          <p:cNvSpPr txBox="1">
            <a:spLocks noGrp="1"/>
          </p:cNvSpPr>
          <p:nvPr>
            <p:ph type="subTitle" idx="6"/>
          </p:nvPr>
        </p:nvSpPr>
        <p:spPr>
          <a:xfrm>
            <a:off x="3786900" y="3621776"/>
            <a:ext cx="16539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dirty="0">
                <a:solidFill>
                  <a:schemeClr val="bg1"/>
                </a:solidFill>
                <a:latin typeface="Roboto Condensed" panose="020B0604020202020204" charset="0"/>
                <a:ea typeface="Roboto Condensed" panose="020B0604020202020204" charset="0"/>
                <a:cs typeface="Times New Roman" panose="02020603050405020304" pitchFamily="18" charset="0"/>
              </a:rPr>
              <a:t>Responsible for projects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 flipH="1">
            <a:off x="540000" y="13713"/>
            <a:ext cx="8064000" cy="6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Squada One"/>
              <a:buNone/>
              <a:defRPr sz="3600" b="0" i="0" u="none" strike="noStrike" cap="none">
                <a:solidFill>
                  <a:schemeClr val="lt1"/>
                </a:solidFill>
                <a:latin typeface="Squada One"/>
                <a:ea typeface="Squada One"/>
                <a:cs typeface="Squada One"/>
                <a:sym typeface="Squada One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800" dirty="0"/>
              <a:t>APIs Used</a:t>
            </a:r>
          </a:p>
        </p:txBody>
      </p:sp>
    </p:spTree>
    <p:extLst>
      <p:ext uri="{BB962C8B-B14F-4D97-AF65-F5344CB8AC3E}">
        <p14:creationId xmlns:p14="http://schemas.microsoft.com/office/powerpoint/2010/main" val="1296639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4400">
        <p14:honeycomb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D41222B-ACC5-B5FE-7DB1-07A199019D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9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ctrTitle" idx="5"/>
          </p:nvPr>
        </p:nvSpPr>
        <p:spPr>
          <a:xfrm>
            <a:off x="1375892" y="2294586"/>
            <a:ext cx="1824507" cy="1312742"/>
          </a:xfrm>
        </p:spPr>
        <p:txBody>
          <a:bodyPr spcFirstLastPara="1" vert="horz" wrap="square" lIns="91425" tIns="91425" rIns="91425" bIns="91425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/>
              <a:t>API limitations</a:t>
            </a:r>
            <a:br>
              <a:rPr lang="en-US" sz="1200" b="0" i="0" u="none" strike="noStrike" cap="none" dirty="0">
                <a:latin typeface="Squada One"/>
                <a:ea typeface="Squada One"/>
                <a:cs typeface="Squada One"/>
                <a:sym typeface="Squada One"/>
              </a:rPr>
            </a:br>
            <a:br>
              <a:rPr lang="en-US" sz="1200" b="0" i="0" u="none" strike="noStrike" cap="none" dirty="0">
                <a:latin typeface="Squada One"/>
                <a:ea typeface="Squada One"/>
                <a:cs typeface="Squada One"/>
                <a:sym typeface="Squada One"/>
              </a:rPr>
            </a:br>
            <a:br>
              <a:rPr lang="en-US" sz="1200" b="0" i="0" u="none" strike="noStrike" cap="none" dirty="0">
                <a:latin typeface="Squada One"/>
                <a:ea typeface="Squada One"/>
                <a:cs typeface="Squada One"/>
                <a:sym typeface="Squada One"/>
              </a:rPr>
            </a:br>
            <a:br>
              <a:rPr lang="en-US" sz="1200" b="0" i="0" u="none" strike="noStrike" cap="none" dirty="0">
                <a:latin typeface="Squada One"/>
                <a:ea typeface="Squada One"/>
                <a:cs typeface="Squada One"/>
                <a:sym typeface="Squada One"/>
              </a:rPr>
            </a:br>
            <a:r>
              <a:rPr lang="en-US" sz="12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mplemented caching mechanisms to optimize API usage and reduce latency.</a:t>
            </a:r>
            <a:b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</a:br>
            <a:br>
              <a:rPr lang="en-US" sz="1200" b="0" i="0" u="none" strike="noStrike" cap="none" dirty="0">
                <a:solidFill>
                  <a:schemeClr val="bg1"/>
                </a:solidFill>
                <a:latin typeface="Squada One"/>
                <a:ea typeface="Squada One"/>
                <a:cs typeface="Squada One"/>
                <a:sym typeface="Squada One"/>
              </a:rPr>
            </a:br>
            <a:endParaRPr lang="en-US" sz="1200" b="0" i="0" u="none" strike="noStrike" cap="none" dirty="0">
              <a:solidFill>
                <a:schemeClr val="bg1"/>
              </a:solidFill>
              <a:latin typeface="Squada One"/>
              <a:ea typeface="Squada One"/>
              <a:cs typeface="Squada One"/>
              <a:sym typeface="Squada One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012BEF-F299-2EA5-2F1A-049DB87E14B2}"/>
              </a:ext>
            </a:extLst>
          </p:cNvPr>
          <p:cNvSpPr txBox="1"/>
          <p:nvPr/>
        </p:nvSpPr>
        <p:spPr>
          <a:xfrm>
            <a:off x="2363273" y="301460"/>
            <a:ext cx="48896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quada One"/>
                <a:sym typeface="Squada One"/>
              </a:rPr>
              <a:t>Challenges and Solutions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6C3194C-741C-8C56-4C27-14BF671B2BBD}"/>
              </a:ext>
            </a:extLst>
          </p:cNvPr>
          <p:cNvSpPr txBox="1"/>
          <p:nvPr/>
        </p:nvSpPr>
        <p:spPr>
          <a:xfrm>
            <a:off x="3652367" y="1833813"/>
            <a:ext cx="1824508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23864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  <a:t>Resource Constraints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23864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23864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  <a:t>Leveraged pre-trained models to avoid resource-intensive training.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</a:b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1678E3-9EC0-B537-94C3-7A8898919B61}"/>
              </a:ext>
            </a:extLst>
          </p:cNvPr>
          <p:cNvSpPr txBox="1"/>
          <p:nvPr/>
        </p:nvSpPr>
        <p:spPr>
          <a:xfrm>
            <a:off x="5816957" y="1833813"/>
            <a:ext cx="175582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423864"/>
                </a:solidFill>
                <a:latin typeface="Squada One"/>
                <a:ea typeface="Squada One"/>
                <a:cs typeface="Squada One"/>
                <a:sym typeface="Squada One"/>
              </a:rPr>
              <a:t>Data Volume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23864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</a:b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23864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quada One"/>
                <a:ea typeface="Squada One"/>
                <a:cs typeface="Squada One"/>
                <a:sym typeface="Squada One"/>
              </a:rPr>
              <a:t>Managed large datasets using efficient preprocessing pipelines and cloud storage solutions.</a:t>
            </a:r>
            <a:endParaRPr lang="en-GB" sz="1200" dirty="0"/>
          </a:p>
        </p:txBody>
      </p:sp>
      <p:sp>
        <p:nvSpPr>
          <p:cNvPr id="22" name="Plus Sign 21">
            <a:extLst>
              <a:ext uri="{FF2B5EF4-FFF2-40B4-BE49-F238E27FC236}">
                <a16:creationId xmlns:a16="http://schemas.microsoft.com/office/drawing/2014/main" id="{26BE67F6-4003-7651-E5F9-34800B12EE5E}"/>
              </a:ext>
            </a:extLst>
          </p:cNvPr>
          <p:cNvSpPr/>
          <p:nvPr/>
        </p:nvSpPr>
        <p:spPr>
          <a:xfrm>
            <a:off x="794198" y="2172237"/>
            <a:ext cx="287628" cy="305068"/>
          </a:xfrm>
          <a:prstGeom prst="mathPlus">
            <a:avLst/>
          </a:prstGeom>
          <a:solidFill>
            <a:schemeClr val="tx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Minus Sign 22">
            <a:extLst>
              <a:ext uri="{FF2B5EF4-FFF2-40B4-BE49-F238E27FC236}">
                <a16:creationId xmlns:a16="http://schemas.microsoft.com/office/drawing/2014/main" id="{512D8F3A-A0A5-EA71-6C3A-6E4EB304E0B8}"/>
              </a:ext>
            </a:extLst>
          </p:cNvPr>
          <p:cNvSpPr/>
          <p:nvPr/>
        </p:nvSpPr>
        <p:spPr>
          <a:xfrm>
            <a:off x="794198" y="2706259"/>
            <a:ext cx="287628" cy="244698"/>
          </a:xfrm>
          <a:prstGeom prst="mathMinus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896566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3250">
        <p15:prstTrans prst="origami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C27D93-143C-F289-9021-DE1B83EF50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67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E727D1-4DBE-074D-1E59-9E75A6B18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nancia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BCC1F2-F822-1B98-D997-B54D8B6EA3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inly our product is free because our main audience is students.</a:t>
            </a:r>
          </a:p>
          <a:p>
            <a:r>
              <a:rPr lang="en-US" dirty="0"/>
              <a:t>However, there will be some ads on the website</a:t>
            </a:r>
          </a:p>
          <a:p>
            <a:r>
              <a:rPr lang="en-US" dirty="0"/>
              <a:t>To have it free of ads, there is a premium fee which is about 3.99$/month.</a:t>
            </a:r>
          </a:p>
        </p:txBody>
      </p:sp>
      <p:pic>
        <p:nvPicPr>
          <p:cNvPr id="1026" name="Picture 2" descr="exorbitant privilege ...">
            <a:extLst>
              <a:ext uri="{FF2B5EF4-FFF2-40B4-BE49-F238E27FC236}">
                <a16:creationId xmlns:a16="http://schemas.microsoft.com/office/drawing/2014/main" id="{562CCCB7-3943-FB93-1D47-D0621FF8E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015" y="2650165"/>
            <a:ext cx="3604436" cy="219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159916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airplane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CFBE3DC-851A-F220-82B2-426479ADD3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717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A4A7A2-4AB0-65D5-6CFA-0BB235B9E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 flipH="1">
            <a:off x="540000" y="2236500"/>
            <a:ext cx="8064000" cy="670500"/>
          </a:xfrm>
        </p:spPr>
        <p:txBody>
          <a:bodyPr vert="horz"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96936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ch Startup XL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88D3CE"/>
      </a:accent1>
      <a:accent2>
        <a:srgbClr val="423864"/>
      </a:accent2>
      <a:accent3>
        <a:srgbClr val="78909C"/>
      </a:accent3>
      <a:accent4>
        <a:srgbClr val="88D3CE"/>
      </a:accent4>
      <a:accent5>
        <a:srgbClr val="0097A7"/>
      </a:accent5>
      <a:accent6>
        <a:srgbClr val="423864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</TotalTime>
  <Words>163</Words>
  <Application>Microsoft Office PowerPoint</Application>
  <PresentationFormat>On-screen Show (16:9)</PresentationFormat>
  <Paragraphs>25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Roboto Condensed</vt:lpstr>
      <vt:lpstr>Squada One</vt:lpstr>
      <vt:lpstr>Trade Gothic LT Pro</vt:lpstr>
      <vt:lpstr>Aptos</vt:lpstr>
      <vt:lpstr>Roboto Condensed Light</vt:lpstr>
      <vt:lpstr>Tech Startup XL by Slidesgo</vt:lpstr>
      <vt:lpstr>think-cell Slide</vt:lpstr>
      <vt:lpstr>AI Powered Career Advisor</vt:lpstr>
      <vt:lpstr>What is AI-Powered Career Advisor</vt:lpstr>
      <vt:lpstr>Adzuna</vt:lpstr>
      <vt:lpstr>API limitations    Implemented caching mechanisms to optimize API usage and reduce latency.  </vt:lpstr>
      <vt:lpstr>Financial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STARTUP</dc:title>
  <dc:creator>Lenovo</dc:creator>
  <cp:lastModifiedBy>Ali Alaaeddine (Student)</cp:lastModifiedBy>
  <cp:revision>44</cp:revision>
  <dcterms:modified xsi:type="dcterms:W3CDTF">2024-12-13T14:50:59Z</dcterms:modified>
</cp:coreProperties>
</file>